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9" r:id="rId7"/>
    <p:sldMasterId id="2147483721" r:id="rId8"/>
    <p:sldMasterId id="2147483733" r:id="rId9"/>
    <p:sldMasterId id="2147483745" r:id="rId10"/>
    <p:sldMasterId id="2147483757" r:id="rId11"/>
    <p:sldMasterId id="2147483770" r:id="rId12"/>
    <p:sldMasterId id="2147483782" r:id="rId13"/>
    <p:sldMasterId id="2147483796" r:id="rId14"/>
    <p:sldMasterId id="2147483810" r:id="rId15"/>
    <p:sldMasterId id="2147483822" r:id="rId16"/>
    <p:sldMasterId id="2147483835" r:id="rId17"/>
    <p:sldMasterId id="2147483847" r:id="rId18"/>
    <p:sldMasterId id="2147483859" r:id="rId19"/>
    <p:sldMasterId id="2147483862" r:id="rId20"/>
    <p:sldMasterId id="2147483876" r:id="rId21"/>
  </p:sldMasterIdLst>
  <p:notesMasterIdLst>
    <p:notesMasterId r:id="rId23"/>
  </p:notesMasterIdLst>
  <p:handoutMasterIdLst>
    <p:handoutMasterId r:id="rId28"/>
  </p:handoutMasterIdLst>
  <p:sldIdLst>
    <p:sldId id="1762" r:id="rId22"/>
    <p:sldId id="1773" r:id="rId24"/>
    <p:sldId id="1779" r:id="rId25"/>
    <p:sldId id="1780" r:id="rId26"/>
    <p:sldId id="1781" r:id="rId27"/>
  </p:sldIdLst>
  <p:sldSz cx="9144000" cy="6858000" type="screen4x3"/>
  <p:notesSz cx="6797675" cy="992632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62"/>
            <p14:sldId id="1779"/>
            <p14:sldId id="1780"/>
            <p14:sldId id="1781"/>
            <p14:sldId id="1773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A3CAE7"/>
    <a:srgbClr val="ECF4FA"/>
    <a:srgbClr val="C9E0FF"/>
    <a:srgbClr val="C9EEFF"/>
    <a:srgbClr val="F0E770"/>
    <a:srgbClr val="008E40"/>
    <a:srgbClr val="A6D86E"/>
    <a:srgbClr val="B9C6FD"/>
    <a:srgbClr val="D7E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0" autoAdjust="0"/>
    <p:restoredTop sz="96244" autoAdjust="0"/>
  </p:normalViewPr>
  <p:slideViewPr>
    <p:cSldViewPr>
      <p:cViewPr>
        <p:scale>
          <a:sx n="110" d="100"/>
          <a:sy n="110" d="100"/>
        </p:scale>
        <p:origin x="-1962" y="-240"/>
      </p:cViewPr>
      <p:guideLst>
        <p:guide orient="horz" pos="2705"/>
        <p:guide pos="3107"/>
        <p:guide pos="1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26"/>
        <p:guide orient="horz" pos="3126"/>
        <p:guide pos="2072"/>
        <p:guide pos="2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2" Type="http://schemas.openxmlformats.org/officeDocument/2006/relationships/commentAuthors" Target="commentAuthors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Master" Target="slideMasters/slideMaster2.xml"/><Relationship Id="rId29" Type="http://schemas.openxmlformats.org/officeDocument/2006/relationships/presProps" Target="presProps.xml"/><Relationship Id="rId28" Type="http://schemas.openxmlformats.org/officeDocument/2006/relationships/handoutMaster" Target="handoutMasters/handoutMaster1.xml"/><Relationship Id="rId27" Type="http://schemas.openxmlformats.org/officeDocument/2006/relationships/slide" Target="slides/slide5.xml"/><Relationship Id="rId26" Type="http://schemas.openxmlformats.org/officeDocument/2006/relationships/slide" Target="slides/slide4.xml"/><Relationship Id="rId25" Type="http://schemas.openxmlformats.org/officeDocument/2006/relationships/slide" Target="slides/slide3.xml"/><Relationship Id="rId24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6C71FB-E163-47FE-A247-7B87CE2D354A}" type="datetimeFigureOut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0FB3E-86B6-4638-862E-B03ECFD7153E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3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1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3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8"/>
            <a:ext cx="5874010" cy="362942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8" y="4726976"/>
            <a:ext cx="4967531" cy="4479075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  <a:endParaRPr lang="ru-RU" sz="2400" b="1" dirty="0">
              <a:solidFill>
                <a:srgbClr val="003274"/>
              </a:solidFill>
            </a:endParaRP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38A7A69-1317-4670-9258-BE1F3A044A15}" type="datetime1">
              <a:rPr lang="ru-RU" smtClean="0"/>
            </a:fld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defTabSz="913765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3765"/>
            <a:endParaRPr lang="ru-RU" sz="1600" dirty="0">
              <a:solidFill>
                <a:srgbClr val="000000"/>
              </a:solidFill>
              <a:latin typeface="Arial" panose="020B0604020202090204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3765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 panose="020B0604020202090204"/>
              </a:rPr>
            </a:fld>
            <a:endParaRPr lang="ru-RU" sz="2200" dirty="0">
              <a:solidFill>
                <a:srgbClr val="000000"/>
              </a:solidFill>
              <a:latin typeface="Arial" panose="020B0604020202090204"/>
            </a:endParaRP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F2D06-4B28-4EB4-9F90-08B85D6AB98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399F5-BADA-4B36-AEBD-BAE89375B9F8}" type="slidenum">
              <a:rPr lang="ru-RU" smtClean="0"/>
            </a:fld>
            <a:endParaRPr lang="ru-RU" dirty="0"/>
          </a:p>
        </p:txBody>
      </p:sp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1F809-6532-4D22-837B-5F2507EAB8EF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8511F-4FF0-4561-891C-7BBC6792217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ED830-1BBB-45BC-B204-1BD1E33682F9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E8DE3E-B843-40C0-893B-3A35DA17BFE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E40DF-D56A-468F-9D99-5ECEBB6053EA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C6261-8784-4175-B0D1-639E4FB629C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3E6A-019C-4519-80A3-DC199CDCDD4A}" type="datetime1">
              <a:rPr lang="ru-RU" smtClean="0"/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7A086-8207-4EB0-B7D7-B01A4510EC1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073D8-3B08-4E3F-8E65-36CE373236AA}" type="datetime1">
              <a:rPr lang="ru-RU" smtClean="0"/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1163F-0EDC-4F72-A93E-A2C935F8D5D2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1CDA6-AEB1-42C0-9A5F-55E6EA5CD6FE}" type="datetime1">
              <a:rPr lang="ru-RU" smtClean="0"/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C6D37-E8F6-4C99-9F02-69FD41AF53A8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C6A24-F428-47B5-8CD5-F95B8372AD9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AAA3-85AE-4CF3-8989-3FA4DE00E454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5C353-A132-4C4E-A23F-5E008E9AB16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81A8A-945F-4D77-B3CF-19AF399A42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4C144-FA45-4983-B864-46D2F3CCFECD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FC9BE-8BCA-48DE-AA40-78DDD1DDBFA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8BE43-CDC8-4A1D-9202-20DC25374369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/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1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2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102.xml"/><Relationship Id="rId17" Type="http://schemas.openxmlformats.org/officeDocument/2006/relationships/theme" Target="../theme/theme1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1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6" Type="http://schemas.openxmlformats.org/officeDocument/2006/relationships/theme" Target="../theme/theme1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8" Type="http://schemas.openxmlformats.org/officeDocument/2006/relationships/theme" Target="../theme/theme12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24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8" Type="http://schemas.openxmlformats.org/officeDocument/2006/relationships/theme" Target="../theme/theme13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7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0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62.xml"/><Relationship Id="rId17" Type="http://schemas.openxmlformats.org/officeDocument/2006/relationships/theme" Target="../theme/theme1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1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6" Type="http://schemas.openxmlformats.org/officeDocument/2006/relationships/theme" Target="../theme/theme1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7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6" Type="http://schemas.openxmlformats.org/officeDocument/2006/relationships/theme" Target="../theme/theme1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heme" Target="../theme/theme18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8.xml"/><Relationship Id="rId14" Type="http://schemas.openxmlformats.org/officeDocument/2006/relationships/theme" Target="../theme/theme19.xml"/><Relationship Id="rId13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9.jpe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8.xml"/><Relationship Id="rId8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11.xml"/><Relationship Id="rId17" Type="http://schemas.openxmlformats.org/officeDocument/2006/relationships/theme" Target="../theme/theme2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30.png"/><Relationship Id="rId13" Type="http://schemas.openxmlformats.org/officeDocument/2006/relationships/image" Target="../media/image29.jpeg"/><Relationship Id="rId12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7" Type="http://schemas.openxmlformats.org/officeDocument/2006/relationships/theme" Target="../theme/theme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9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 panose="020B0604020202090204"/>
              </a:rPr>
            </a:fld>
            <a:endParaRPr lang="ru-RU" dirty="0">
              <a:latin typeface="Arial" panose="020B0604020202090204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65"/>
            <a:r>
              <a:rPr lang="ru-RU" sz="1400" dirty="0">
                <a:solidFill>
                  <a:srgbClr val="808080"/>
                </a:solidFill>
                <a:latin typeface="Arial" panose="020B0604020202090204"/>
              </a:rPr>
              <a:t>TRACKER</a:t>
            </a:r>
            <a:endParaRPr lang="ru-RU" sz="1400" dirty="0">
              <a:solidFill>
                <a:srgbClr val="808080"/>
              </a:solidFill>
              <a:latin typeface="Arial" panose="020B0604020202090204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1 Сноска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665" indent="-621665" defTabSz="913130">
              <a:tabLst>
                <a:tab pos="62484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65"/>
              <a:r>
                <a:rPr lang="ru-RU" sz="1600" b="1" dirty="0">
                  <a:solidFill>
                    <a:srgbClr val="000000"/>
                  </a:solidFill>
                  <a:latin typeface="Arial" panose="020B0604020202090204"/>
                </a:rPr>
                <a:t>Title</a:t>
              </a:r>
              <a:endParaRPr lang="ru-RU" sz="1600" b="1" dirty="0">
                <a:solidFill>
                  <a:srgbClr val="000000"/>
                </a:solidFill>
                <a:latin typeface="Arial" panose="020B0604020202090204"/>
              </a:endParaRPr>
            </a:p>
            <a:p>
              <a:pPr defTabSz="913765"/>
              <a:r>
                <a:rPr lang="ru-RU" sz="1600" dirty="0">
                  <a:solidFill>
                    <a:srgbClr val="808080"/>
                  </a:solidFill>
                  <a:latin typeface="Arial" panose="020B0604020202090204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panose="020B0604020202090204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385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5pPr>
      <a:lvl6pPr marL="46609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7pPr>
      <a:lvl8pPr marL="139890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9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090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0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2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1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489EB0-6CFC-4E12-B545-E965AC2D09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A663EA52-884A-401B-9C0B-BA7D6E6232EC}" type="slidenum">
              <a:rPr lang="ru-RU"/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98AFEC57-EB06-4D59-A7D0-215126966E20}" type="slidenum">
              <a:rPr lang="ru-RU"/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3.xml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7" Type="http://schemas.openxmlformats.org/officeDocument/2006/relationships/vmlDrawing" Target="../drawings/vmlDrawing3.vml"/><Relationship Id="rId6" Type="http://schemas.openxmlformats.org/officeDocument/2006/relationships/slideLayout" Target="../slideLayouts/slideLayout203.xml"/><Relationship Id="rId5" Type="http://schemas.openxmlformats.org/officeDocument/2006/relationships/tags" Target="../tags/tag4.xml"/><Relationship Id="rId4" Type="http://schemas.openxmlformats.org/officeDocument/2006/relationships/image" Target="../media/image33.jpeg"/><Relationship Id="rId3" Type="http://schemas.openxmlformats.org/officeDocument/2006/relationships/image" Target="../media/image32.png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35.png"/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03.xml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20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3" Type="http://schemas.openxmlformats.org/officeDocument/2006/relationships/image" Target="../media/image36.jpe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35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3600" b="1" dirty="0">
                <a:solidFill>
                  <a:srgbClr val="2E658E"/>
                </a:solidFill>
              </a:rPr>
              <a:t>Эффективный регион</a:t>
            </a:r>
            <a:endParaRPr lang="ru-RU" sz="3600" b="1" dirty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ОКУ «Центр занятости населения</a:t>
            </a: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города Щигры и </a:t>
            </a:r>
            <a:r>
              <a:rPr lang="ru-RU" sz="2400" b="1" dirty="0" err="1" smtClean="0">
                <a:solidFill>
                  <a:srgbClr val="2E658E"/>
                </a:solidFill>
              </a:rPr>
              <a:t>Щигровского</a:t>
            </a:r>
            <a:r>
              <a:rPr lang="ru-RU" sz="2400" b="1" dirty="0" smtClean="0">
                <a:solidFill>
                  <a:srgbClr val="2E658E"/>
                </a:solidFill>
              </a:rPr>
              <a:t> района»</a:t>
            </a:r>
            <a:endParaRPr lang="ru-RU" sz="2400" b="1" dirty="0">
              <a:solidFill>
                <a:srgbClr val="2E658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6248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021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од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358" y="548680"/>
            <a:ext cx="1987284" cy="230425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/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Picture 5135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28" name="Прямоугольник 2"/>
          <p:cNvSpPr/>
          <p:nvPr/>
        </p:nvSpPr>
        <p:spPr bwMode="auto">
          <a:xfrm>
            <a:off x="288922" y="1197628"/>
            <a:ext cx="4145575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1" name="Прямоугольник 17"/>
          <p:cNvSpPr/>
          <p:nvPr/>
        </p:nvSpPr>
        <p:spPr bwMode="auto">
          <a:xfrm>
            <a:off x="288922" y="3619174"/>
            <a:ext cx="4140202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2" name="Прямоугольник 21"/>
          <p:cNvSpPr/>
          <p:nvPr/>
        </p:nvSpPr>
        <p:spPr bwMode="auto">
          <a:xfrm>
            <a:off x="4528068" y="1196752"/>
            <a:ext cx="4293160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ое время подготовки к тестированию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ое время проведения тестирования при проведении профориентации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ое время обработки результатов тестирования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3" name="Прямоугольник 22"/>
          <p:cNvSpPr/>
          <p:nvPr/>
        </p:nvSpPr>
        <p:spPr bwMode="auto">
          <a:xfrm>
            <a:off x="4567004" y="3619173"/>
            <a:ext cx="4293160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4" name="TextBox 19"/>
          <p:cNvSpPr/>
          <p:nvPr/>
        </p:nvSpPr>
        <p:spPr bwMode="auto">
          <a:xfrm>
            <a:off x="4563866" y="3654065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4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Ключевые события (КС) 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5" name="TextBox 20"/>
          <p:cNvSpPr/>
          <p:nvPr/>
        </p:nvSpPr>
        <p:spPr bwMode="auto">
          <a:xfrm>
            <a:off x="323528" y="3654066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3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u="sng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ели и плановый эффект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6" name="TextBox 16"/>
          <p:cNvSpPr/>
          <p:nvPr/>
        </p:nvSpPr>
        <p:spPr bwMode="auto">
          <a:xfrm>
            <a:off x="4526208" y="1250808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2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Обоснование выбор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7" name="TextBox 23"/>
          <p:cNvSpPr/>
          <p:nvPr/>
        </p:nvSpPr>
        <p:spPr bwMode="auto">
          <a:xfrm>
            <a:off x="255889" y="1250809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1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Вовлеченные лица и рамки проект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8" name="TextBox 65"/>
          <p:cNvSpPr txBox="1">
            <a:spLocks noChangeArrowheads="1"/>
          </p:cNvSpPr>
          <p:nvPr/>
        </p:nvSpPr>
        <p:spPr bwMode="auto">
          <a:xfrm>
            <a:off x="279514" y="1596083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Заказчик</a:t>
            </a:r>
            <a:r>
              <a:rPr lang="en-US" altLang="ru-RU" sz="1000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9" name="TextBox 65"/>
          <p:cNvSpPr txBox="1">
            <a:spLocks noChangeArrowheads="1"/>
          </p:cNvSpPr>
          <p:nvPr/>
        </p:nvSpPr>
        <p:spPr bwMode="auto">
          <a:xfrm>
            <a:off x="293875" y="2721046"/>
            <a:ext cx="418987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Команда 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рошева Н.А., Лунева Н.А., </a:t>
            </a:r>
            <a:r>
              <a:rPr lang="ru-RU" altLang="ru-RU" sz="1000" b="0" u="none" dirty="0" smtClean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ерелыгина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Е.Ю.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0" name="TextBox 65"/>
          <p:cNvSpPr txBox="1">
            <a:spLocks noChangeArrowheads="1"/>
          </p:cNvSpPr>
          <p:nvPr/>
        </p:nvSpPr>
        <p:spPr bwMode="auto">
          <a:xfrm>
            <a:off x="290002" y="1964499"/>
            <a:ext cx="4203173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ериметр 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b="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kern="0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1" name="TextBox 65"/>
          <p:cNvSpPr txBox="1">
            <a:spLocks noChangeArrowheads="1"/>
          </p:cNvSpPr>
          <p:nvPr/>
        </p:nvSpPr>
        <p:spPr bwMode="auto">
          <a:xfrm>
            <a:off x="293875" y="2292418"/>
            <a:ext cx="4131809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defTabSz="895985">
              <a:defRPr/>
            </a:pP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Руководитель ПСР-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</a:rPr>
              <a:t>Директор ОКУ «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ЦЗН города Щигры и Щигровского района» Моисеев П.Ю.</a:t>
            </a:r>
            <a:endParaRPr 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2" name="TextBox 14"/>
          <p:cNvSpPr txBox="1">
            <a:spLocks noChangeArrowheads="1"/>
          </p:cNvSpPr>
          <p:nvPr/>
        </p:nvSpPr>
        <p:spPr bwMode="auto">
          <a:xfrm>
            <a:off x="4588163" y="4055917"/>
            <a:ext cx="4178089" cy="15081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Старт проекта	</a:t>
            </a:r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14.08.2021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Картирование текущего состояния процессов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: 	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15.08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08280" lvl="0" indent="-20828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   Разработка целевого состояния и плана </a:t>
            </a:r>
            <a:b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мероприятий:	 </a:t>
            </a:r>
            <a:r>
              <a:rPr lang="ru-RU" altLang="ru-RU" sz="1000" dirty="0" smtClean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16.08.2021 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   Проведение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Kick-off</a:t>
            </a:r>
            <a:r>
              <a:rPr lang="ru-RU" altLang="ru-RU" sz="100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</a:t>
            </a:r>
            <a:r>
              <a:rPr lang="ru-RU" altLang="ru-RU" sz="1000" smtClean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3.08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5.   Реализация мероприятий проекта: 	 30.11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6.   Закрепление результатов и закрытие проекта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4.12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80498" y="3984192"/>
          <a:ext cx="3929380" cy="2268855"/>
        </p:xfrm>
        <a:graphic>
          <a:graphicData uri="http://schemas.openxmlformats.org/drawingml/2006/table">
            <a:tbl>
              <a:tblPr firstRow="1" bandRow="1"/>
              <a:tblGrid>
                <a:gridCol w="2007574"/>
                <a:gridCol w="961702"/>
                <a:gridCol w="959813"/>
              </a:tblGrid>
              <a:tr h="4241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Наименование цели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Текущи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Целево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ПП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95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40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ремени обработки результатов тестирования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45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5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ремени  переноса информации с бумажного носителя в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электронный вид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15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5 ми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779549" y="159533"/>
            <a:ext cx="7527581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 fontScale="92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РС-проект</a:t>
            </a: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: «Сокращение времени протекания процесса проведения тестирования в профессиональной ориентации граждан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Прямая соединительная линия 92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436997" cy="16435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родолжительный </a:t>
            </a:r>
            <a:r>
              <a:rPr lang="ru-RU" sz="14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подбора тестовых заданий и печати бланков тестовых заданий.</a:t>
            </a:r>
            <a:endParaRPr lang="ru-RU" sz="14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лительный </a:t>
            </a:r>
            <a:r>
              <a:rPr lang="ru-RU" sz="14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обработки результатов тестирования (вручную).</a:t>
            </a:r>
            <a:endParaRPr lang="ru-RU" sz="14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лительный </a:t>
            </a:r>
            <a:r>
              <a:rPr lang="ru-RU" sz="14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оформления рекомендаций и внесения их в заключение (вручную).</a:t>
            </a:r>
            <a:endParaRPr lang="ru-RU" sz="14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Несвоевременное </a:t>
            </a:r>
            <a:r>
              <a:rPr lang="ru-RU" sz="14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согласование результатов с рекомендациями из-за занятости руководителя.</a:t>
            </a:r>
            <a:endParaRPr lang="ru-RU" sz="14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Проблемы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Взрыв: 14 точек 2"/>
          <p:cNvSpPr/>
          <p:nvPr/>
        </p:nvSpPr>
        <p:spPr>
          <a:xfrm>
            <a:off x="443485" y="4320214"/>
            <a:ext cx="672131" cy="315096"/>
          </a:xfrm>
          <a:prstGeom prst="irregularSeal2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720706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ВПП текущее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470295" y="4721724"/>
            <a:ext cx="1838009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42" name="Picture 2" descr="F:\Downloads\2022-03-03_17-50-4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7" y="1196751"/>
            <a:ext cx="8314029" cy="304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F:\Downloads\2022-03-03_17-52-18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0706" y="4797149"/>
            <a:ext cx="2160240" cy="1894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779549" y="159533"/>
            <a:ext cx="7527581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Сокращение </a:t>
            </a: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времени протекания процесса проведения тестирования в профессиональной ориентации граждан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26859" y="951486"/>
            <a:ext cx="8071738" cy="245266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>
                <a:solidFill>
                  <a:srgbClr val="2E658E"/>
                </a:solidFill>
              </a:rPr>
              <a:t>Исходное 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779549" y="159533"/>
            <a:ext cx="7527581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Сокращение </a:t>
            </a: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времени протекания процесса проведения тестирования в профессиональной ориентации граждан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9420" y="983063"/>
            <a:ext cx="77768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>
                <a:solidFill>
                  <a:srgbClr val="2E658E"/>
                </a:solidFill>
              </a:rPr>
              <a:t>Мероприятия для реализации </a:t>
            </a:r>
            <a:r>
              <a:rPr lang="ru-RU" sz="1700" b="1" dirty="0" smtClean="0">
                <a:solidFill>
                  <a:srgbClr val="2E658E"/>
                </a:solidFill>
              </a:rPr>
              <a:t>проекта</a:t>
            </a:r>
            <a:endParaRPr lang="ru-RU" sz="1700" b="1" dirty="0">
              <a:solidFill>
                <a:srgbClr val="2E658E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95536" y="1397000"/>
          <a:ext cx="8280920" cy="482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89859"/>
                <a:gridCol w="169106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татус выполнения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анке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льзователей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цифрового реш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(программа тестирования)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инструкции пользователя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Тестирование прототипа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процедуры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извлечения результатов тестирования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тренинга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 переносу результатов тестирования в заключение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несение предложений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изменения в 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изменения в 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тес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цифрового решения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цифрового реш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 работу ЦЗН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повторного анке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льзователей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реш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 возможных доработках цифрового решения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869045" cy="177510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35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Внедрение </a:t>
            </a:r>
            <a:r>
              <a:rPr lang="ru-RU" sz="135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цифрового решения снизит время подготовки к тестированию, устранит процедуру печати бланка.</a:t>
            </a:r>
            <a:endParaRPr lang="ru-RU" sz="135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35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Цифровое </a:t>
            </a:r>
            <a:r>
              <a:rPr lang="ru-RU" sz="135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решение не требует временных затрат на </a:t>
            </a:r>
            <a:r>
              <a:rPr lang="ru-RU" sz="135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обработку материалов.</a:t>
            </a:r>
            <a:endParaRPr lang="ru-RU" sz="1350" dirty="0" smtClean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35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Оформление заключения в цифре (копировать-вставить) снизит время его формирования.</a:t>
            </a:r>
            <a:endParaRPr lang="ru-RU" sz="1350" dirty="0" smtClean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35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Исключение </a:t>
            </a:r>
            <a:r>
              <a:rPr lang="ru-RU" sz="135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этапа согласования заключения с руководителем снимет дополнительные временные риски </a:t>
            </a:r>
            <a:endParaRPr lang="ru-RU" sz="135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01964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Решения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5936730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ВПП целевое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686319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1" name="Picture 3" descr="F:\Downloads\depositphotos_84568290-stock-illustration-exclamation-sign-flat-eco-gree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02"/>
          <a:stretch>
            <a:fillRect/>
          </a:stretch>
        </p:blipFill>
        <p:spPr bwMode="auto">
          <a:xfrm>
            <a:off x="473415" y="4282666"/>
            <a:ext cx="555089" cy="37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F:\Downloads\2022-03-03_17-55-07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859" y="1257988"/>
            <a:ext cx="5293429" cy="294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F:\Downloads\2022-03-03_17-57-07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440" y="4810571"/>
            <a:ext cx="2100820" cy="182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779549" y="159533"/>
            <a:ext cx="7527581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Сокращение </a:t>
            </a: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времени протекания процесса проведения тестирования в профессиональной ориентации граждан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95536" y="994991"/>
            <a:ext cx="8071738" cy="262997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 smtClean="0">
                <a:solidFill>
                  <a:srgbClr val="2E658E"/>
                </a:solidFill>
              </a:rPr>
              <a:t>Целевое </a:t>
            </a:r>
            <a:r>
              <a:rPr lang="ru-RU" sz="1200" dirty="0">
                <a:solidFill>
                  <a:srgbClr val="2E658E"/>
                </a:solidFill>
              </a:rPr>
              <a:t>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M_UNIT_TABLE_BEAUTIFY" val="smartTable{8558a995-4bb6-453b-9fef-04cad8200bcb}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91</Words>
  <Application>WPS Presentation</Application>
  <PresentationFormat>Экран (4:3)</PresentationFormat>
  <Paragraphs>152</Paragraphs>
  <Slides>5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0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5</vt:i4>
      </vt:variant>
    </vt:vector>
  </HeadingPairs>
  <TitlesOfParts>
    <vt:vector size="39" baseType="lpstr">
      <vt:lpstr>Arial</vt:lpstr>
      <vt:lpstr>SimSun</vt:lpstr>
      <vt:lpstr>Wingdings</vt:lpstr>
      <vt:lpstr>Arial</vt:lpstr>
      <vt:lpstr>Calibri</vt:lpstr>
      <vt:lpstr>Helvetica Neue</vt:lpstr>
      <vt:lpstr>Montserrat</vt:lpstr>
      <vt:lpstr>苹方-简</vt:lpstr>
      <vt:lpstr>Calibri</vt:lpstr>
      <vt:lpstr>微软雅黑</vt:lpstr>
      <vt:lpstr>汉仪旗黑</vt:lpstr>
      <vt:lpstr>Arial Unicode MS</vt:lpstr>
      <vt:lpstr>Calibri Light</vt:lpstr>
      <vt:lpstr>宋体-简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Тема Office</vt:lpstr>
      <vt:lpstr>5_b-default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alexander</cp:lastModifiedBy>
  <cp:revision>5216</cp:revision>
  <cp:lastPrinted>2022-07-25T13:36:49Z</cp:lastPrinted>
  <dcterms:created xsi:type="dcterms:W3CDTF">2022-07-25T13:36:49Z</dcterms:created>
  <dcterms:modified xsi:type="dcterms:W3CDTF">2022-07-25T13:3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  <property fmtid="{D5CDD505-2E9C-101B-9397-08002B2CF9AE}" pid="3" name="KSOProductBuildVer">
    <vt:lpwstr>1033-3.2.0.6370</vt:lpwstr>
  </property>
</Properties>
</file>